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99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FB3431-9501-52D2-C648-9644E85108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13F8407-F740-FC01-AA20-3875E93164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3F8407-F740-FC01-AA20-3875E93164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8DE8FE5-448C-099B-7B25-62D947FE29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D5010C8-8EF6-55B2-EA10-F8F6134B52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Risk Heatmap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80730B1-D9A7-754B-51CE-E705CABECE04}"/>
              </a:ext>
            </a:extLst>
          </p:cNvPr>
          <p:cNvSpPr/>
          <p:nvPr/>
        </p:nvSpPr>
        <p:spPr>
          <a:xfrm>
            <a:off x="4087925" y="1405929"/>
            <a:ext cx="1196410" cy="804311"/>
          </a:xfrm>
          <a:prstGeom prst="rect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ＭＳ Ｐゴシック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19F23F0-905F-6A75-969F-D4EB8031DA94}"/>
              </a:ext>
            </a:extLst>
          </p:cNvPr>
          <p:cNvSpPr/>
          <p:nvPr/>
        </p:nvSpPr>
        <p:spPr>
          <a:xfrm>
            <a:off x="5287895" y="1405929"/>
            <a:ext cx="1196410" cy="804311"/>
          </a:xfrm>
          <a:prstGeom prst="rect">
            <a:avLst/>
          </a:prstGeom>
          <a:solidFill>
            <a:srgbClr val="FF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ＭＳ Ｐゴシック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7E72275-B4C7-D225-52DB-C04041CF5BD1}"/>
              </a:ext>
            </a:extLst>
          </p:cNvPr>
          <p:cNvSpPr/>
          <p:nvPr/>
        </p:nvSpPr>
        <p:spPr>
          <a:xfrm>
            <a:off x="6482525" y="1405929"/>
            <a:ext cx="1196410" cy="804311"/>
          </a:xfrm>
          <a:prstGeom prst="rect">
            <a:avLst/>
          </a:prstGeom>
          <a:solidFill>
            <a:srgbClr val="FF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ＭＳ Ｐゴシック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7BFC36C-40E0-9EE2-1A49-5AA089CE33A2}"/>
              </a:ext>
            </a:extLst>
          </p:cNvPr>
          <p:cNvSpPr/>
          <p:nvPr/>
        </p:nvSpPr>
        <p:spPr>
          <a:xfrm>
            <a:off x="7677155" y="1405929"/>
            <a:ext cx="1196410" cy="804311"/>
          </a:xfrm>
          <a:prstGeom prst="rect">
            <a:avLst/>
          </a:prstGeom>
          <a:solidFill>
            <a:srgbClr val="FF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ＭＳ Ｐゴシック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90C94FA-E7DE-7FFD-DE39-95B870C8B20F}"/>
              </a:ext>
            </a:extLst>
          </p:cNvPr>
          <p:cNvSpPr/>
          <p:nvPr/>
        </p:nvSpPr>
        <p:spPr>
          <a:xfrm>
            <a:off x="8873565" y="1405929"/>
            <a:ext cx="1196410" cy="804311"/>
          </a:xfrm>
          <a:prstGeom prst="rect">
            <a:avLst/>
          </a:prstGeom>
          <a:solidFill>
            <a:srgbClr val="FF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ＭＳ Ｐゴシック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F5EEBB0-EC61-5CBA-46A1-94EE7CD2CA25}"/>
              </a:ext>
            </a:extLst>
          </p:cNvPr>
          <p:cNvSpPr/>
          <p:nvPr/>
        </p:nvSpPr>
        <p:spPr>
          <a:xfrm>
            <a:off x="4087925" y="2210240"/>
            <a:ext cx="1196410" cy="804311"/>
          </a:xfrm>
          <a:prstGeom prst="rect">
            <a:avLst/>
          </a:prstGeom>
          <a:solidFill>
            <a:srgbClr val="00B05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ＭＳ Ｐゴシック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8B615AC-7327-DD2A-9FDF-CA095C1D08BB}"/>
              </a:ext>
            </a:extLst>
          </p:cNvPr>
          <p:cNvSpPr/>
          <p:nvPr/>
        </p:nvSpPr>
        <p:spPr>
          <a:xfrm>
            <a:off x="5287895" y="2210240"/>
            <a:ext cx="1196410" cy="804311"/>
          </a:xfrm>
          <a:prstGeom prst="rect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ＭＳ Ｐゴシック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3846D7E-8A30-0587-A279-DB754E132FB0}"/>
              </a:ext>
            </a:extLst>
          </p:cNvPr>
          <p:cNvSpPr/>
          <p:nvPr/>
        </p:nvSpPr>
        <p:spPr>
          <a:xfrm>
            <a:off x="6482525" y="2210240"/>
            <a:ext cx="1196410" cy="804311"/>
          </a:xfrm>
          <a:prstGeom prst="rect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ＭＳ Ｐゴシック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3D46E28-4B19-C8E5-D03A-8C1F613CED15}"/>
              </a:ext>
            </a:extLst>
          </p:cNvPr>
          <p:cNvSpPr/>
          <p:nvPr/>
        </p:nvSpPr>
        <p:spPr>
          <a:xfrm>
            <a:off x="7677155" y="2210240"/>
            <a:ext cx="1196410" cy="804311"/>
          </a:xfrm>
          <a:prstGeom prst="rect">
            <a:avLst/>
          </a:prstGeom>
          <a:solidFill>
            <a:srgbClr val="FF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ＭＳ Ｐゴシック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0371C7E-7AF7-A615-ECA8-4D647FBB6844}"/>
              </a:ext>
            </a:extLst>
          </p:cNvPr>
          <p:cNvSpPr/>
          <p:nvPr/>
        </p:nvSpPr>
        <p:spPr>
          <a:xfrm>
            <a:off x="8873565" y="2210240"/>
            <a:ext cx="1196410" cy="804311"/>
          </a:xfrm>
          <a:prstGeom prst="rect">
            <a:avLst/>
          </a:prstGeom>
          <a:solidFill>
            <a:srgbClr val="FF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ＭＳ Ｐゴシック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3ED2891-2E7B-FAAB-D342-8DBC06286A26}"/>
              </a:ext>
            </a:extLst>
          </p:cNvPr>
          <p:cNvSpPr/>
          <p:nvPr/>
        </p:nvSpPr>
        <p:spPr>
          <a:xfrm>
            <a:off x="4087925" y="3014552"/>
            <a:ext cx="1196410" cy="804311"/>
          </a:xfrm>
          <a:prstGeom prst="rect">
            <a:avLst/>
          </a:prstGeom>
          <a:solidFill>
            <a:srgbClr val="00B05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ＭＳ Ｐゴシック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4E1F4B4-2825-A888-98FF-6C547733A50E}"/>
              </a:ext>
            </a:extLst>
          </p:cNvPr>
          <p:cNvSpPr/>
          <p:nvPr/>
        </p:nvSpPr>
        <p:spPr>
          <a:xfrm>
            <a:off x="5287895" y="3014552"/>
            <a:ext cx="1196410" cy="804311"/>
          </a:xfrm>
          <a:prstGeom prst="rect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ＭＳ Ｐゴシック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85A0152-A877-1D2B-0E78-D927210A756F}"/>
              </a:ext>
            </a:extLst>
          </p:cNvPr>
          <p:cNvSpPr/>
          <p:nvPr/>
        </p:nvSpPr>
        <p:spPr>
          <a:xfrm>
            <a:off x="6482525" y="3014552"/>
            <a:ext cx="1196410" cy="804311"/>
          </a:xfrm>
          <a:prstGeom prst="rect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ＭＳ Ｐゴシック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DB80227-222D-B035-603E-A7F1EBA380EB}"/>
              </a:ext>
            </a:extLst>
          </p:cNvPr>
          <p:cNvSpPr/>
          <p:nvPr/>
        </p:nvSpPr>
        <p:spPr>
          <a:xfrm>
            <a:off x="7677155" y="3014552"/>
            <a:ext cx="1196410" cy="804311"/>
          </a:xfrm>
          <a:prstGeom prst="rect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ＭＳ Ｐゴシック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E807082-4D53-6F1A-B9A9-6F790FDB9C2C}"/>
              </a:ext>
            </a:extLst>
          </p:cNvPr>
          <p:cNvSpPr/>
          <p:nvPr/>
        </p:nvSpPr>
        <p:spPr>
          <a:xfrm>
            <a:off x="8873565" y="3014552"/>
            <a:ext cx="1196410" cy="804311"/>
          </a:xfrm>
          <a:prstGeom prst="rect">
            <a:avLst/>
          </a:prstGeom>
          <a:solidFill>
            <a:srgbClr val="FF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ＭＳ Ｐゴシック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432E92A-9129-2028-B45A-E26D1508D027}"/>
              </a:ext>
            </a:extLst>
          </p:cNvPr>
          <p:cNvSpPr/>
          <p:nvPr/>
        </p:nvSpPr>
        <p:spPr>
          <a:xfrm>
            <a:off x="4087925" y="3818862"/>
            <a:ext cx="1196410" cy="804311"/>
          </a:xfrm>
          <a:prstGeom prst="rect">
            <a:avLst/>
          </a:prstGeom>
          <a:solidFill>
            <a:srgbClr val="00B05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ＭＳ Ｐゴシック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5CC3D54-9526-497A-CC74-B12635EA9BE9}"/>
              </a:ext>
            </a:extLst>
          </p:cNvPr>
          <p:cNvSpPr/>
          <p:nvPr/>
        </p:nvSpPr>
        <p:spPr>
          <a:xfrm>
            <a:off x="5287895" y="3818862"/>
            <a:ext cx="1196410" cy="804311"/>
          </a:xfrm>
          <a:prstGeom prst="rect">
            <a:avLst/>
          </a:prstGeom>
          <a:solidFill>
            <a:srgbClr val="00B05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ＭＳ Ｐゴシック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2957CB7-CC20-0FA2-99E3-C6EFFB43CD08}"/>
              </a:ext>
            </a:extLst>
          </p:cNvPr>
          <p:cNvSpPr/>
          <p:nvPr/>
        </p:nvSpPr>
        <p:spPr>
          <a:xfrm>
            <a:off x="6482525" y="3818862"/>
            <a:ext cx="1196410" cy="804311"/>
          </a:xfrm>
          <a:prstGeom prst="rect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ＭＳ Ｐゴシック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3818B8E-A6B6-DCDE-A6DD-EEA72BCB510F}"/>
              </a:ext>
            </a:extLst>
          </p:cNvPr>
          <p:cNvSpPr/>
          <p:nvPr/>
        </p:nvSpPr>
        <p:spPr>
          <a:xfrm>
            <a:off x="7677155" y="3818862"/>
            <a:ext cx="1196410" cy="804311"/>
          </a:xfrm>
          <a:prstGeom prst="rect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ＭＳ Ｐゴシック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B69E070-DB84-8E00-1941-ABE067CE1188}"/>
              </a:ext>
            </a:extLst>
          </p:cNvPr>
          <p:cNvSpPr/>
          <p:nvPr/>
        </p:nvSpPr>
        <p:spPr>
          <a:xfrm>
            <a:off x="8873565" y="3818862"/>
            <a:ext cx="1196410" cy="804311"/>
          </a:xfrm>
          <a:prstGeom prst="rect">
            <a:avLst/>
          </a:prstGeom>
          <a:solidFill>
            <a:srgbClr val="FF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ＭＳ Ｐゴシック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BB28E8B8-81FA-A947-139B-C203AAB978A6}"/>
              </a:ext>
            </a:extLst>
          </p:cNvPr>
          <p:cNvSpPr/>
          <p:nvPr/>
        </p:nvSpPr>
        <p:spPr>
          <a:xfrm>
            <a:off x="4087925" y="4623174"/>
            <a:ext cx="1196410" cy="804311"/>
          </a:xfrm>
          <a:prstGeom prst="rect">
            <a:avLst/>
          </a:prstGeom>
          <a:solidFill>
            <a:srgbClr val="00B05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ＭＳ Ｐゴシック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F1B21CE-65F4-32C3-DB73-9F907A3DD983}"/>
              </a:ext>
            </a:extLst>
          </p:cNvPr>
          <p:cNvSpPr/>
          <p:nvPr/>
        </p:nvSpPr>
        <p:spPr>
          <a:xfrm>
            <a:off x="5287895" y="4623174"/>
            <a:ext cx="1196410" cy="804311"/>
          </a:xfrm>
          <a:prstGeom prst="rect">
            <a:avLst/>
          </a:prstGeom>
          <a:solidFill>
            <a:srgbClr val="00B05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ＭＳ Ｐゴシック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0E42EB9-9390-C42A-F9AC-26CED4B70BC5}"/>
              </a:ext>
            </a:extLst>
          </p:cNvPr>
          <p:cNvSpPr/>
          <p:nvPr/>
        </p:nvSpPr>
        <p:spPr>
          <a:xfrm>
            <a:off x="6482525" y="4623174"/>
            <a:ext cx="1196410" cy="804311"/>
          </a:xfrm>
          <a:prstGeom prst="rect">
            <a:avLst/>
          </a:prstGeom>
          <a:solidFill>
            <a:srgbClr val="00B05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ＭＳ Ｐゴシック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4103107-8DDC-3A18-1602-27549A9CBD82}"/>
              </a:ext>
            </a:extLst>
          </p:cNvPr>
          <p:cNvSpPr/>
          <p:nvPr/>
        </p:nvSpPr>
        <p:spPr>
          <a:xfrm>
            <a:off x="7677155" y="4623174"/>
            <a:ext cx="1196410" cy="804311"/>
          </a:xfrm>
          <a:prstGeom prst="rect">
            <a:avLst/>
          </a:prstGeom>
          <a:solidFill>
            <a:srgbClr val="00B05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ＭＳ Ｐゴシック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1043EAA-E5EA-4FDC-5B6E-DA1077EDA1BA}"/>
              </a:ext>
            </a:extLst>
          </p:cNvPr>
          <p:cNvSpPr/>
          <p:nvPr/>
        </p:nvSpPr>
        <p:spPr>
          <a:xfrm>
            <a:off x="8873565" y="4623174"/>
            <a:ext cx="1196410" cy="804311"/>
          </a:xfrm>
          <a:prstGeom prst="rect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ＭＳ Ｐゴシック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E4F8F88-929C-1CEB-E994-7A5444B8E411}"/>
              </a:ext>
            </a:extLst>
          </p:cNvPr>
          <p:cNvSpPr txBox="1"/>
          <p:nvPr/>
        </p:nvSpPr>
        <p:spPr>
          <a:xfrm>
            <a:off x="4087925" y="5589394"/>
            <a:ext cx="117949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ＭＳ Ｐゴシック"/>
                <a:cs typeface="+mn-cs"/>
              </a:rPr>
              <a:t>Incidental</a:t>
            </a:r>
            <a:endParaRPr kumimoji="0" lang="en-US" sz="1300" b="0" i="1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ＭＳ Ｐゴシック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E1A64EC-A68D-1F79-61F0-FAEC55695BF6}"/>
              </a:ext>
            </a:extLst>
          </p:cNvPr>
          <p:cNvSpPr txBox="1"/>
          <p:nvPr/>
        </p:nvSpPr>
        <p:spPr>
          <a:xfrm>
            <a:off x="5287895" y="5589394"/>
            <a:ext cx="117949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ＭＳ Ｐゴシック"/>
                <a:cs typeface="+mn-cs"/>
              </a:rPr>
              <a:t>Minor</a:t>
            </a:r>
            <a:endParaRPr kumimoji="0" lang="en-US" sz="1300" b="0" i="1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ＭＳ Ｐゴシック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169836E-7222-D51C-2CD3-A619365D1EDE}"/>
              </a:ext>
            </a:extLst>
          </p:cNvPr>
          <p:cNvSpPr txBox="1"/>
          <p:nvPr/>
        </p:nvSpPr>
        <p:spPr>
          <a:xfrm>
            <a:off x="6482525" y="5589394"/>
            <a:ext cx="117949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ＭＳ Ｐゴシック"/>
                <a:cs typeface="+mn-cs"/>
              </a:rPr>
              <a:t>Moderate</a:t>
            </a:r>
            <a:endParaRPr kumimoji="0" lang="en-US" sz="1300" b="0" i="1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ＭＳ Ｐゴシック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94110E04-4B43-43EC-1CDC-24C3F6D2D51F}"/>
              </a:ext>
            </a:extLst>
          </p:cNvPr>
          <p:cNvSpPr txBox="1"/>
          <p:nvPr/>
        </p:nvSpPr>
        <p:spPr>
          <a:xfrm>
            <a:off x="7677155" y="5589394"/>
            <a:ext cx="117949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ＭＳ Ｐゴシック"/>
                <a:cs typeface="+mn-cs"/>
              </a:rPr>
              <a:t>Major</a:t>
            </a:r>
            <a:endParaRPr kumimoji="0" lang="en-US" sz="1300" b="0" i="1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ＭＳ Ｐゴシック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5FB3D84-D27A-D409-47B9-4FDDF55EB2F6}"/>
              </a:ext>
            </a:extLst>
          </p:cNvPr>
          <p:cNvSpPr txBox="1"/>
          <p:nvPr/>
        </p:nvSpPr>
        <p:spPr>
          <a:xfrm>
            <a:off x="8873565" y="5589394"/>
            <a:ext cx="117949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ＭＳ Ｐゴシック"/>
                <a:cs typeface="+mn-cs"/>
              </a:rPr>
              <a:t>Catastrophic </a:t>
            </a:r>
            <a:endParaRPr kumimoji="0" lang="en-US" sz="1300" b="0" i="1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ＭＳ Ｐゴシック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A3C370E-D9B8-F1FE-DF0D-B9A46AA58A9C}"/>
              </a:ext>
            </a:extLst>
          </p:cNvPr>
          <p:cNvSpPr txBox="1"/>
          <p:nvPr/>
        </p:nvSpPr>
        <p:spPr>
          <a:xfrm>
            <a:off x="2494110" y="1650041"/>
            <a:ext cx="1473449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ＭＳ Ｐゴシック"/>
                <a:cs typeface="+mn-cs"/>
              </a:rPr>
              <a:t>Almost certain</a:t>
            </a:r>
            <a:endParaRPr kumimoji="0" lang="en-US" sz="1300" b="0" i="1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ＭＳ Ｐゴシック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623D97B-1D7C-AFD7-1EBC-90B6AA477AEC}"/>
              </a:ext>
            </a:extLst>
          </p:cNvPr>
          <p:cNvSpPr txBox="1"/>
          <p:nvPr/>
        </p:nvSpPr>
        <p:spPr>
          <a:xfrm>
            <a:off x="2494110" y="2454353"/>
            <a:ext cx="1473449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ＭＳ Ｐゴシック"/>
                <a:cs typeface="+mn-cs"/>
              </a:rPr>
              <a:t>Likely</a:t>
            </a:r>
            <a:endParaRPr kumimoji="0" lang="en-US" sz="1300" b="0" i="1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ＭＳ Ｐゴシック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E9B35B83-4059-AF27-EB0C-A462B5313D25}"/>
              </a:ext>
            </a:extLst>
          </p:cNvPr>
          <p:cNvSpPr txBox="1"/>
          <p:nvPr/>
        </p:nvSpPr>
        <p:spPr>
          <a:xfrm>
            <a:off x="2494110" y="3258664"/>
            <a:ext cx="1473449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ＭＳ Ｐゴシック"/>
                <a:cs typeface="+mn-cs"/>
              </a:rPr>
              <a:t>Possible</a:t>
            </a:r>
            <a:endParaRPr kumimoji="0" lang="en-US" sz="1300" b="0" i="1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ＭＳ Ｐゴシック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B9E3BAB-2E52-F0A2-F061-07FBF54E067B}"/>
              </a:ext>
            </a:extLst>
          </p:cNvPr>
          <p:cNvSpPr txBox="1"/>
          <p:nvPr/>
        </p:nvSpPr>
        <p:spPr>
          <a:xfrm>
            <a:off x="2494110" y="4062975"/>
            <a:ext cx="1473449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ＭＳ Ｐゴシック"/>
                <a:cs typeface="+mn-cs"/>
              </a:rPr>
              <a:t>Unlikely</a:t>
            </a:r>
            <a:endParaRPr kumimoji="0" lang="en-US" sz="1300" b="0" i="1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ＭＳ Ｐゴシック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8BFC49F-C394-D548-8003-B4FD47387769}"/>
              </a:ext>
            </a:extLst>
          </p:cNvPr>
          <p:cNvSpPr txBox="1"/>
          <p:nvPr/>
        </p:nvSpPr>
        <p:spPr>
          <a:xfrm>
            <a:off x="2494110" y="4867286"/>
            <a:ext cx="1473449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ＭＳ Ｐゴシック"/>
                <a:cs typeface="+mn-cs"/>
              </a:rPr>
              <a:t>Rare</a:t>
            </a:r>
            <a:endParaRPr kumimoji="0" lang="en-US" sz="1300" b="0" i="1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ＭＳ Ｐゴシック"/>
              <a:cs typeface="+mn-cs"/>
            </a:endParaRP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257876F6-89E3-D9E8-1BEA-82E6CD7BD1CD}"/>
              </a:ext>
            </a:extLst>
          </p:cNvPr>
          <p:cNvCxnSpPr/>
          <p:nvPr/>
        </p:nvCxnSpPr>
        <p:spPr>
          <a:xfrm>
            <a:off x="4087925" y="5959288"/>
            <a:ext cx="598205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01874173-FE9F-E3BE-9745-34C1AC7E5004}"/>
              </a:ext>
            </a:extLst>
          </p:cNvPr>
          <p:cNvSpPr txBox="1"/>
          <p:nvPr/>
        </p:nvSpPr>
        <p:spPr>
          <a:xfrm>
            <a:off x="6489201" y="6077027"/>
            <a:ext cx="117949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ＭＳ Ｐゴシック"/>
                <a:cs typeface="+mn-cs"/>
              </a:rPr>
              <a:t>Impact 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ＭＳ Ｐゴシック"/>
              <a:cs typeface="+mn-cs"/>
            </a:endParaRP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80D474A3-2B63-ABE2-DD20-A8B17D1E9A41}"/>
              </a:ext>
            </a:extLst>
          </p:cNvPr>
          <p:cNvCxnSpPr/>
          <p:nvPr/>
        </p:nvCxnSpPr>
        <p:spPr>
          <a:xfrm>
            <a:off x="2336039" y="1405929"/>
            <a:ext cx="0" cy="4021556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D2629254-9606-F082-509F-422C2D2DDE82}"/>
              </a:ext>
            </a:extLst>
          </p:cNvPr>
          <p:cNvSpPr txBox="1"/>
          <p:nvPr/>
        </p:nvSpPr>
        <p:spPr>
          <a:xfrm>
            <a:off x="833729" y="3245494"/>
            <a:ext cx="134361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ＭＳ Ｐゴシック"/>
                <a:cs typeface="+mn-cs"/>
              </a:rPr>
              <a:t>Possibility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58841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88</TotalTime>
  <Words>16</Words>
  <Application>Microsoft Office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ＭＳ Ｐゴシック</vt:lpstr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Risk Heatmap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483</cp:revision>
  <dcterms:created xsi:type="dcterms:W3CDTF">2021-03-31T02:49:57Z</dcterms:created>
  <dcterms:modified xsi:type="dcterms:W3CDTF">2025-10-15T08:32:11Z</dcterms:modified>
  <cp:category/>
</cp:coreProperties>
</file>